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9" d="100"/>
          <a:sy n="99" d="100"/>
        </p:scale>
        <p:origin x="108" y="7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/>
              <a:t>Logikverteilung</a:t>
            </a:r>
            <a:r>
              <a:rPr lang="en-US" dirty="0" smtClean="0"/>
              <a:t> um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Primitives Device </a:t>
            </a:r>
            <a:r>
              <a:rPr lang="en-US" baseline="0" dirty="0" err="1" smtClean="0"/>
              <a:t>anzusprechen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Logik</c:v>
                </c:pt>
              </c:strCache>
            </c:strRef>
          </c:tx>
          <c:spPr>
            <a:ln>
              <a:solidFill>
                <a:schemeClr val="tx1">
                  <a:lumMod val="85000"/>
                  <a:lumOff val="15000"/>
                </a:schemeClr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c:spPr>
          </c:dPt>
          <c:cat>
            <c:strRef>
              <c:f>Tabelle1!$A$2:$A$4</c:f>
              <c:strCache>
                <c:ptCount val="3"/>
                <c:pt idx="0">
                  <c:v>CCD (Communication Channel Driver)</c:v>
                </c:pt>
                <c:pt idx="1">
                  <c:v>Modell Treiber (Transitionstreiber)</c:v>
                </c:pt>
                <c:pt idx="2">
                  <c:v>Virtual Representation (Informationstreiber)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80</c:v>
                </c:pt>
                <c:pt idx="1">
                  <c:v>10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07F83D-AE45-4201-99AB-1A00328D9EFD}" type="doc">
      <dgm:prSet loTypeId="urn:microsoft.com/office/officeart/2005/8/layout/equation2" loCatId="relationship" qsTypeId="urn:microsoft.com/office/officeart/2005/8/quickstyle/simple1" qsCatId="simple" csTypeId="urn:microsoft.com/office/officeart/2005/8/colors/accent1_2" csCatId="accent1" phldr="1"/>
      <dgm:spPr/>
    </dgm:pt>
    <dgm:pt modelId="{826F5E20-CE73-488E-92FD-9924276D7C8A}">
      <dgm:prSet phldrT="[Text]"/>
      <dgm:spPr/>
      <dgm:t>
        <a:bodyPr/>
        <a:lstStyle/>
        <a:p>
          <a:r>
            <a:rPr lang="de-DE" dirty="0" smtClean="0"/>
            <a:t>Universeller Modelltreiber</a:t>
          </a:r>
          <a:endParaRPr lang="de-DE" dirty="0"/>
        </a:p>
      </dgm:t>
    </dgm:pt>
    <dgm:pt modelId="{75C20C2A-A1EC-438B-94A9-BBE44EF471BE}" type="parTrans" cxnId="{C8542120-FB7C-47AA-807F-5D455348B254}">
      <dgm:prSet/>
      <dgm:spPr/>
      <dgm:t>
        <a:bodyPr/>
        <a:lstStyle/>
        <a:p>
          <a:endParaRPr lang="de-DE"/>
        </a:p>
      </dgm:t>
    </dgm:pt>
    <dgm:pt modelId="{D7F94D0C-295D-40DF-958C-C60B3380236C}" type="sibTrans" cxnId="{C8542120-FB7C-47AA-807F-5D455348B254}">
      <dgm:prSet/>
      <dgm:spPr/>
      <dgm:t>
        <a:bodyPr/>
        <a:lstStyle/>
        <a:p>
          <a:endParaRPr lang="de-DE"/>
        </a:p>
      </dgm:t>
    </dgm:pt>
    <dgm:pt modelId="{32493112-7BF3-40EE-9CD2-1EC0D90F16DA}">
      <dgm:prSet phldrT="[Text]"/>
      <dgm:spPr/>
      <dgm:t>
        <a:bodyPr/>
        <a:lstStyle/>
        <a:p>
          <a:r>
            <a:rPr lang="de-DE" dirty="0" err="1" smtClean="0"/>
            <a:t>Instanzspezifische</a:t>
          </a:r>
          <a:r>
            <a:rPr lang="de-DE" dirty="0" smtClean="0"/>
            <a:t> Virtual </a:t>
          </a:r>
          <a:r>
            <a:rPr lang="de-DE" dirty="0" err="1" smtClean="0"/>
            <a:t>Representation</a:t>
          </a:r>
          <a:endParaRPr lang="de-DE" dirty="0"/>
        </a:p>
      </dgm:t>
    </dgm:pt>
    <dgm:pt modelId="{CB60A815-7DA2-4A0E-93C6-FAAEE2CF9DDE}" type="parTrans" cxnId="{88B5658F-DC07-4DB1-9BD3-C88F7BB705F4}">
      <dgm:prSet/>
      <dgm:spPr/>
      <dgm:t>
        <a:bodyPr/>
        <a:lstStyle/>
        <a:p>
          <a:endParaRPr lang="de-DE"/>
        </a:p>
      </dgm:t>
    </dgm:pt>
    <dgm:pt modelId="{16DEB30E-0085-4E9C-A4CC-6394497766D5}" type="sibTrans" cxnId="{88B5658F-DC07-4DB1-9BD3-C88F7BB705F4}">
      <dgm:prSet/>
      <dgm:spPr/>
      <dgm:t>
        <a:bodyPr/>
        <a:lstStyle/>
        <a:p>
          <a:endParaRPr lang="de-DE"/>
        </a:p>
      </dgm:t>
    </dgm:pt>
    <dgm:pt modelId="{8FE9F1AD-69A1-4190-AC74-F16238F3FA12}">
      <dgm:prSet phldrT="[Text]"/>
      <dgm:spPr/>
      <dgm:t>
        <a:bodyPr/>
        <a:lstStyle/>
        <a:p>
          <a:r>
            <a:rPr lang="de-DE" dirty="0" smtClean="0"/>
            <a:t>Device Driver</a:t>
          </a:r>
          <a:endParaRPr lang="de-DE" dirty="0"/>
        </a:p>
      </dgm:t>
    </dgm:pt>
    <dgm:pt modelId="{ECD7788B-543A-4C7F-90C7-B255E8232CA9}" type="parTrans" cxnId="{DEDF8277-4CC1-40C2-A51E-97549BFE44F8}">
      <dgm:prSet/>
      <dgm:spPr/>
      <dgm:t>
        <a:bodyPr/>
        <a:lstStyle/>
        <a:p>
          <a:endParaRPr lang="de-DE"/>
        </a:p>
      </dgm:t>
    </dgm:pt>
    <dgm:pt modelId="{94FA1E69-E717-4023-851D-5020AACECE97}" type="sibTrans" cxnId="{DEDF8277-4CC1-40C2-A51E-97549BFE44F8}">
      <dgm:prSet/>
      <dgm:spPr/>
      <dgm:t>
        <a:bodyPr/>
        <a:lstStyle/>
        <a:p>
          <a:endParaRPr lang="de-DE"/>
        </a:p>
      </dgm:t>
    </dgm:pt>
    <dgm:pt modelId="{B8797278-BA45-4C10-8B41-A65C5B1C218F}" type="pres">
      <dgm:prSet presAssocID="{B907F83D-AE45-4201-99AB-1A00328D9EFD}" presName="Name0" presStyleCnt="0">
        <dgm:presLayoutVars>
          <dgm:dir/>
          <dgm:resizeHandles val="exact"/>
        </dgm:presLayoutVars>
      </dgm:prSet>
      <dgm:spPr/>
    </dgm:pt>
    <dgm:pt modelId="{A9C7DD01-1FE5-4FFA-9C1A-1D6F2437D965}" type="pres">
      <dgm:prSet presAssocID="{B907F83D-AE45-4201-99AB-1A00328D9EFD}" presName="vNodes" presStyleCnt="0"/>
      <dgm:spPr/>
    </dgm:pt>
    <dgm:pt modelId="{82741E03-CD01-4056-9B6F-07DE7E8F404A}" type="pres">
      <dgm:prSet presAssocID="{826F5E20-CE73-488E-92FD-9924276D7C8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28626A-E3AB-4568-91B0-B3961D0EE0AA}" type="pres">
      <dgm:prSet presAssocID="{D7F94D0C-295D-40DF-958C-C60B3380236C}" presName="spacerT" presStyleCnt="0"/>
      <dgm:spPr/>
    </dgm:pt>
    <dgm:pt modelId="{D38AD076-AE5B-48C0-9E11-79996B3F5D86}" type="pres">
      <dgm:prSet presAssocID="{D7F94D0C-295D-40DF-958C-C60B3380236C}" presName="sibTrans" presStyleLbl="sibTrans2D1" presStyleIdx="0" presStyleCnt="2"/>
      <dgm:spPr/>
    </dgm:pt>
    <dgm:pt modelId="{F6E183D9-734E-4CBD-A8AA-6FD6D222D196}" type="pres">
      <dgm:prSet presAssocID="{D7F94D0C-295D-40DF-958C-C60B3380236C}" presName="spacerB" presStyleCnt="0"/>
      <dgm:spPr/>
    </dgm:pt>
    <dgm:pt modelId="{26C9666B-2AC5-4A31-A816-7EEF8C96E99D}" type="pres">
      <dgm:prSet presAssocID="{32493112-7BF3-40EE-9CD2-1EC0D90F16DA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03F37F4-91D4-4353-8CBC-92CCAAE2E492}" type="pres">
      <dgm:prSet presAssocID="{B907F83D-AE45-4201-99AB-1A00328D9EFD}" presName="sibTransLast" presStyleLbl="sibTrans2D1" presStyleIdx="1" presStyleCnt="2"/>
      <dgm:spPr/>
    </dgm:pt>
    <dgm:pt modelId="{76DA56C6-0890-47E8-919F-8D7C3ED10B11}" type="pres">
      <dgm:prSet presAssocID="{B907F83D-AE45-4201-99AB-1A00328D9EFD}" presName="connectorText" presStyleLbl="sibTrans2D1" presStyleIdx="1" presStyleCnt="2"/>
      <dgm:spPr/>
    </dgm:pt>
    <dgm:pt modelId="{DE72D06F-F36F-4BD0-B8F1-249CE43DCB22}" type="pres">
      <dgm:prSet presAssocID="{B907F83D-AE45-4201-99AB-1A00328D9EFD}" presName="lastNode" presStyleLbl="node1" presStyleIdx="2" presStyleCnt="3">
        <dgm:presLayoutVars>
          <dgm:bulletEnabled val="1"/>
        </dgm:presLayoutVars>
      </dgm:prSet>
      <dgm:spPr/>
    </dgm:pt>
  </dgm:ptLst>
  <dgm:cxnLst>
    <dgm:cxn modelId="{DEDF8277-4CC1-40C2-A51E-97549BFE44F8}" srcId="{B907F83D-AE45-4201-99AB-1A00328D9EFD}" destId="{8FE9F1AD-69A1-4190-AC74-F16238F3FA12}" srcOrd="2" destOrd="0" parTransId="{ECD7788B-543A-4C7F-90C7-B255E8232CA9}" sibTransId="{94FA1E69-E717-4023-851D-5020AACECE97}"/>
    <dgm:cxn modelId="{9EB367A2-CC2B-43EB-8AE0-61E514A5E80F}" type="presOf" srcId="{8FE9F1AD-69A1-4190-AC74-F16238F3FA12}" destId="{DE72D06F-F36F-4BD0-B8F1-249CE43DCB22}" srcOrd="0" destOrd="0" presId="urn:microsoft.com/office/officeart/2005/8/layout/equation2"/>
    <dgm:cxn modelId="{18250470-EE98-4A13-B397-1F37EBF06F73}" type="presOf" srcId="{826F5E20-CE73-488E-92FD-9924276D7C8A}" destId="{82741E03-CD01-4056-9B6F-07DE7E8F404A}" srcOrd="0" destOrd="0" presId="urn:microsoft.com/office/officeart/2005/8/layout/equation2"/>
    <dgm:cxn modelId="{93C0C373-7A9C-43E8-A11B-1BE9CE46ECB8}" type="presOf" srcId="{D7F94D0C-295D-40DF-958C-C60B3380236C}" destId="{D38AD076-AE5B-48C0-9E11-79996B3F5D86}" srcOrd="0" destOrd="0" presId="urn:microsoft.com/office/officeart/2005/8/layout/equation2"/>
    <dgm:cxn modelId="{AA8864AC-4745-4E3E-8786-4E20C00FCB5D}" type="presOf" srcId="{32493112-7BF3-40EE-9CD2-1EC0D90F16DA}" destId="{26C9666B-2AC5-4A31-A816-7EEF8C96E99D}" srcOrd="0" destOrd="0" presId="urn:microsoft.com/office/officeart/2005/8/layout/equation2"/>
    <dgm:cxn modelId="{C8542120-FB7C-47AA-807F-5D455348B254}" srcId="{B907F83D-AE45-4201-99AB-1A00328D9EFD}" destId="{826F5E20-CE73-488E-92FD-9924276D7C8A}" srcOrd="0" destOrd="0" parTransId="{75C20C2A-A1EC-438B-94A9-BBE44EF471BE}" sibTransId="{D7F94D0C-295D-40DF-958C-C60B3380236C}"/>
    <dgm:cxn modelId="{ECC3C67B-2E0E-4782-88C5-E9A9FC8161D2}" type="presOf" srcId="{B907F83D-AE45-4201-99AB-1A00328D9EFD}" destId="{B8797278-BA45-4C10-8B41-A65C5B1C218F}" srcOrd="0" destOrd="0" presId="urn:microsoft.com/office/officeart/2005/8/layout/equation2"/>
    <dgm:cxn modelId="{4670A1F3-00D8-46E4-BD67-8B1B79CF4A49}" type="presOf" srcId="{16DEB30E-0085-4E9C-A4CC-6394497766D5}" destId="{603F37F4-91D4-4353-8CBC-92CCAAE2E492}" srcOrd="0" destOrd="0" presId="urn:microsoft.com/office/officeart/2005/8/layout/equation2"/>
    <dgm:cxn modelId="{88B5658F-DC07-4DB1-9BD3-C88F7BB705F4}" srcId="{B907F83D-AE45-4201-99AB-1A00328D9EFD}" destId="{32493112-7BF3-40EE-9CD2-1EC0D90F16DA}" srcOrd="1" destOrd="0" parTransId="{CB60A815-7DA2-4A0E-93C6-FAAEE2CF9DDE}" sibTransId="{16DEB30E-0085-4E9C-A4CC-6394497766D5}"/>
    <dgm:cxn modelId="{2EC3E87B-556C-4BA5-A937-FBCDA6C99A99}" type="presOf" srcId="{16DEB30E-0085-4E9C-A4CC-6394497766D5}" destId="{76DA56C6-0890-47E8-919F-8D7C3ED10B11}" srcOrd="1" destOrd="0" presId="urn:microsoft.com/office/officeart/2005/8/layout/equation2"/>
    <dgm:cxn modelId="{1DB0D8A1-6475-4B7D-BF5B-41293CF69CBF}" type="presParOf" srcId="{B8797278-BA45-4C10-8B41-A65C5B1C218F}" destId="{A9C7DD01-1FE5-4FFA-9C1A-1D6F2437D965}" srcOrd="0" destOrd="0" presId="urn:microsoft.com/office/officeart/2005/8/layout/equation2"/>
    <dgm:cxn modelId="{97C72D27-B4DB-4C53-B2A6-186697BA3AE8}" type="presParOf" srcId="{A9C7DD01-1FE5-4FFA-9C1A-1D6F2437D965}" destId="{82741E03-CD01-4056-9B6F-07DE7E8F404A}" srcOrd="0" destOrd="0" presId="urn:microsoft.com/office/officeart/2005/8/layout/equation2"/>
    <dgm:cxn modelId="{D7FD4A9A-15B8-4437-848F-961A867238DE}" type="presParOf" srcId="{A9C7DD01-1FE5-4FFA-9C1A-1D6F2437D965}" destId="{FF28626A-E3AB-4568-91B0-B3961D0EE0AA}" srcOrd="1" destOrd="0" presId="urn:microsoft.com/office/officeart/2005/8/layout/equation2"/>
    <dgm:cxn modelId="{3F27CCE8-4D89-4964-BF58-DE120AE44051}" type="presParOf" srcId="{A9C7DD01-1FE5-4FFA-9C1A-1D6F2437D965}" destId="{D38AD076-AE5B-48C0-9E11-79996B3F5D86}" srcOrd="2" destOrd="0" presId="urn:microsoft.com/office/officeart/2005/8/layout/equation2"/>
    <dgm:cxn modelId="{6A347619-F60B-41F7-AF32-A1306ACD49B2}" type="presParOf" srcId="{A9C7DD01-1FE5-4FFA-9C1A-1D6F2437D965}" destId="{F6E183D9-734E-4CBD-A8AA-6FD6D222D196}" srcOrd="3" destOrd="0" presId="urn:microsoft.com/office/officeart/2005/8/layout/equation2"/>
    <dgm:cxn modelId="{CF5942B9-C3D8-4183-8452-22512520164A}" type="presParOf" srcId="{A9C7DD01-1FE5-4FFA-9C1A-1D6F2437D965}" destId="{26C9666B-2AC5-4A31-A816-7EEF8C96E99D}" srcOrd="4" destOrd="0" presId="urn:microsoft.com/office/officeart/2005/8/layout/equation2"/>
    <dgm:cxn modelId="{64388CD5-8A74-4F19-9CF1-4FA2A06279DF}" type="presParOf" srcId="{B8797278-BA45-4C10-8B41-A65C5B1C218F}" destId="{603F37F4-91D4-4353-8CBC-92CCAAE2E492}" srcOrd="1" destOrd="0" presId="urn:microsoft.com/office/officeart/2005/8/layout/equation2"/>
    <dgm:cxn modelId="{3CD17972-9E8A-44D7-A49E-B74E1F376D12}" type="presParOf" srcId="{603F37F4-91D4-4353-8CBC-92CCAAE2E492}" destId="{76DA56C6-0890-47E8-919F-8D7C3ED10B11}" srcOrd="0" destOrd="0" presId="urn:microsoft.com/office/officeart/2005/8/layout/equation2"/>
    <dgm:cxn modelId="{8E769242-7E16-45EC-8046-6C3AD9B128FA}" type="presParOf" srcId="{B8797278-BA45-4C10-8B41-A65C5B1C218F}" destId="{DE72D06F-F36F-4BD0-B8F1-249CE43DCB22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741E03-CD01-4056-9B6F-07DE7E8F404A}">
      <dsp:nvSpPr>
        <dsp:cNvPr id="0" name=""/>
        <dsp:cNvSpPr/>
      </dsp:nvSpPr>
      <dsp:spPr>
        <a:xfrm>
          <a:off x="2401951" y="147"/>
          <a:ext cx="1586582" cy="15865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Universeller Modelltreiber</a:t>
          </a:r>
          <a:endParaRPr lang="de-DE" sz="1100" kern="1200" dirty="0"/>
        </a:p>
      </dsp:txBody>
      <dsp:txXfrm>
        <a:off x="2634301" y="232497"/>
        <a:ext cx="1121882" cy="1121882"/>
      </dsp:txXfrm>
    </dsp:sp>
    <dsp:sp modelId="{D38AD076-AE5B-48C0-9E11-79996B3F5D86}">
      <dsp:nvSpPr>
        <dsp:cNvPr id="0" name=""/>
        <dsp:cNvSpPr/>
      </dsp:nvSpPr>
      <dsp:spPr>
        <a:xfrm>
          <a:off x="2735134" y="1715560"/>
          <a:ext cx="920217" cy="920217"/>
        </a:xfrm>
        <a:prstGeom prst="mathPl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kern="1200"/>
        </a:p>
      </dsp:txBody>
      <dsp:txXfrm>
        <a:off x="2857109" y="2067451"/>
        <a:ext cx="676267" cy="216435"/>
      </dsp:txXfrm>
    </dsp:sp>
    <dsp:sp modelId="{26C9666B-2AC5-4A31-A816-7EEF8C96E99D}">
      <dsp:nvSpPr>
        <dsp:cNvPr id="0" name=""/>
        <dsp:cNvSpPr/>
      </dsp:nvSpPr>
      <dsp:spPr>
        <a:xfrm>
          <a:off x="2401951" y="2764608"/>
          <a:ext cx="1586582" cy="15865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err="1" smtClean="0"/>
            <a:t>Instanzspezifische</a:t>
          </a:r>
          <a:r>
            <a:rPr lang="de-DE" sz="1100" kern="1200" dirty="0" smtClean="0"/>
            <a:t> Virtual </a:t>
          </a:r>
          <a:r>
            <a:rPr lang="de-DE" sz="1100" kern="1200" dirty="0" err="1" smtClean="0"/>
            <a:t>Representation</a:t>
          </a:r>
          <a:endParaRPr lang="de-DE" sz="1100" kern="1200" dirty="0"/>
        </a:p>
      </dsp:txBody>
      <dsp:txXfrm>
        <a:off x="2634301" y="2996958"/>
        <a:ext cx="1121882" cy="1121882"/>
      </dsp:txXfrm>
    </dsp:sp>
    <dsp:sp modelId="{603F37F4-91D4-4353-8CBC-92CCAAE2E492}">
      <dsp:nvSpPr>
        <dsp:cNvPr id="0" name=""/>
        <dsp:cNvSpPr/>
      </dsp:nvSpPr>
      <dsp:spPr>
        <a:xfrm>
          <a:off x="4226521" y="1880564"/>
          <a:ext cx="504533" cy="5902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kern="1200"/>
        </a:p>
      </dsp:txBody>
      <dsp:txXfrm>
        <a:off x="4226521" y="1998606"/>
        <a:ext cx="353173" cy="354124"/>
      </dsp:txXfrm>
    </dsp:sp>
    <dsp:sp modelId="{DE72D06F-F36F-4BD0-B8F1-249CE43DCB22}">
      <dsp:nvSpPr>
        <dsp:cNvPr id="0" name=""/>
        <dsp:cNvSpPr/>
      </dsp:nvSpPr>
      <dsp:spPr>
        <a:xfrm>
          <a:off x="4940483" y="589086"/>
          <a:ext cx="3173164" cy="31731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000" kern="1200" dirty="0" smtClean="0"/>
            <a:t>Device Driver</a:t>
          </a:r>
          <a:endParaRPr lang="de-DE" sz="6000" kern="1200" dirty="0"/>
        </a:p>
      </dsp:txBody>
      <dsp:txXfrm>
        <a:off x="5405182" y="1053785"/>
        <a:ext cx="2243766" cy="22437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Glied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 sz="1800" b="1"/>
            </a:lvl1pPr>
            <a:lvl2pPr marL="357188" indent="-174625">
              <a:buFont typeface="Arial" pitchFamily="34" charset="0"/>
              <a:buChar char="•"/>
              <a:defRPr b="0"/>
            </a:lvl2pPr>
            <a:lvl3pPr marL="357188" indent="0">
              <a:defRPr b="0"/>
            </a:lvl3pPr>
            <a:lvl4pPr marL="539750" indent="-182563">
              <a:defRPr b="0"/>
            </a:lvl4pPr>
            <a:lvl5pPr marL="539750" indent="0">
              <a:defRPr b="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>
                <a:solidFill>
                  <a:srgbClr val="001A4A"/>
                </a:solidFill>
              </a:rPr>
              <a:pPr/>
              <a:t>26.06.2015</a:t>
            </a:fld>
            <a:endParaRPr lang="de-DE" dirty="0">
              <a:solidFill>
                <a:srgbClr val="001A4A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36000" y="1377000"/>
            <a:ext cx="1152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0934" y="6526927"/>
            <a:ext cx="1092167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>
                <a:solidFill>
                  <a:srgbClr val="001A4A"/>
                </a:solidFill>
              </a:rPr>
              <a:t>Folie </a:t>
            </a:r>
            <a:fld id="{A4B51702-AC76-4ACE-BAFB-C649D10E9C0D}" type="slidenum">
              <a:rPr lang="de-DE" smtClean="0">
                <a:solidFill>
                  <a:srgbClr val="001A4A"/>
                </a:solidFill>
              </a:rPr>
              <a:pPr/>
              <a:t>‹Nr.›</a:t>
            </a:fld>
            <a:endParaRPr lang="de-DE" dirty="0">
              <a:solidFill>
                <a:srgbClr val="001A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703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624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673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4406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Glieder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 sz="1800" b="1"/>
            </a:lvl1pPr>
            <a:lvl2pPr marL="357188" indent="-174625">
              <a:buFont typeface="Arial" pitchFamily="34" charset="0"/>
              <a:buChar char="•"/>
              <a:defRPr b="0"/>
            </a:lvl2pPr>
            <a:lvl3pPr marL="357188" indent="0">
              <a:defRPr b="0"/>
            </a:lvl3pPr>
            <a:lvl4pPr marL="539750" indent="-182563">
              <a:defRPr b="0"/>
            </a:lvl4pPr>
            <a:lvl5pPr marL="539750" indent="0">
              <a:defRPr b="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FBEA3-36FB-4A3B-B2B9-DBB8540A112B}" type="datetime1">
              <a:rPr lang="de-DE" smtClean="0">
                <a:solidFill>
                  <a:srgbClr val="001A4A"/>
                </a:solidFill>
              </a:rPr>
              <a:pPr/>
              <a:t>26.06.2015</a:t>
            </a:fld>
            <a:endParaRPr lang="de-DE" dirty="0">
              <a:solidFill>
                <a:srgbClr val="001A4A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36000" y="1377000"/>
            <a:ext cx="11520000" cy="468000"/>
          </a:xfrm>
          <a:prstGeom prst="rect">
            <a:avLst/>
          </a:prstGeom>
        </p:spPr>
        <p:txBody>
          <a:bodyPr wrap="square"/>
          <a:lstStyle>
            <a:lvl1pPr marL="0" indent="0" algn="l">
              <a:buNone/>
              <a:defRPr sz="2400" b="1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noProof="0" dirty="0" smtClean="0"/>
              <a:t>Titel durch Klicken bearbeiten</a:t>
            </a:r>
            <a:endParaRPr lang="en-US" noProof="0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0934" y="6526927"/>
            <a:ext cx="1092167" cy="2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>
                <a:solidFill>
                  <a:srgbClr val="001A4A"/>
                </a:solidFill>
              </a:rPr>
              <a:t>Folie </a:t>
            </a:r>
            <a:fld id="{A4B51702-AC76-4ACE-BAFB-C649D10E9C0D}" type="slidenum">
              <a:rPr lang="de-DE" smtClean="0">
                <a:solidFill>
                  <a:srgbClr val="001A4A"/>
                </a:solidFill>
              </a:rPr>
              <a:pPr/>
              <a:t>‹Nr.›</a:t>
            </a:fld>
            <a:endParaRPr lang="de-DE" dirty="0">
              <a:solidFill>
                <a:srgbClr val="001A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246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0159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85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9377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5657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86368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91963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4368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8071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82218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3E786D-3A08-4D9D-A5FE-91BEA8078406}" type="datetimeFigureOut">
              <a:rPr lang="de-DE" smtClean="0"/>
              <a:t>26.06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4487D-CFC8-4A87-AC8D-F55642F21FCD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Picture 1" descr="C:\Users\hv\Dokumente\iwb\50 - AKOMI\Verwaltung\Logos\AKOMI\AKOMI 72dpi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60015" y="365125"/>
            <a:ext cx="2293785" cy="7404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93690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bau eines Treibers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21055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268840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ogik im Treiber</a:t>
            </a:r>
            <a:endParaRPr lang="de-DE" dirty="0"/>
          </a:p>
        </p:txBody>
      </p:sp>
      <p:graphicFrame>
        <p:nvGraphicFramePr>
          <p:cNvPr id="21" name="Inhaltsplatzhalt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57133792"/>
              </p:ext>
            </p:extLst>
          </p:nvPr>
        </p:nvGraphicFramePr>
        <p:xfrm>
          <a:off x="5183188" y="987425"/>
          <a:ext cx="6172200" cy="487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platzhalter 21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de-DE" dirty="0" smtClean="0"/>
              <a:t>CCD: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Konfiguration des Gerätes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Kommunikation mit dem Gerät</a:t>
            </a:r>
          </a:p>
          <a:p>
            <a:pPr marL="742950" lvl="1" indent="-285750">
              <a:buFontTx/>
              <a:buChar char="-"/>
            </a:pPr>
            <a:r>
              <a:rPr lang="de-DE" dirty="0" err="1" smtClean="0"/>
              <a:t>Subscription</a:t>
            </a:r>
            <a:r>
              <a:rPr lang="de-DE" dirty="0" smtClean="0"/>
              <a:t> der Zustandswerte</a:t>
            </a:r>
          </a:p>
          <a:p>
            <a:pPr marL="285750" indent="-285750">
              <a:buFontTx/>
              <a:buChar char="-"/>
            </a:pPr>
            <a:r>
              <a:rPr lang="de-DE" dirty="0" smtClean="0"/>
              <a:t>Modell Treiber (</a:t>
            </a:r>
            <a:r>
              <a:rPr lang="de-DE" dirty="0" err="1" smtClean="0"/>
              <a:t>Transitionstreiber</a:t>
            </a:r>
            <a:r>
              <a:rPr lang="de-DE" dirty="0" smtClean="0"/>
              <a:t>)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Zugriff auf Zustandsinformationen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Auswertung der Zustandsinformationen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Aktualisierung der Zustandsinformationen</a:t>
            </a:r>
          </a:p>
          <a:p>
            <a:pPr marL="285750" indent="-285750">
              <a:buFontTx/>
              <a:buChar char="-"/>
            </a:pPr>
            <a:r>
              <a:rPr lang="de-DE" dirty="0" smtClean="0"/>
              <a:t>Virtual </a:t>
            </a:r>
            <a:r>
              <a:rPr lang="de-DE" dirty="0" err="1" smtClean="0"/>
              <a:t>Representation</a:t>
            </a:r>
            <a:r>
              <a:rPr lang="de-DE" dirty="0" smtClean="0"/>
              <a:t> (Informationstreiber)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Wie ist der Device-Zustand</a:t>
            </a:r>
          </a:p>
        </p:txBody>
      </p:sp>
    </p:spTree>
    <p:extLst>
      <p:ext uri="{BB962C8B-B14F-4D97-AF65-F5344CB8AC3E}">
        <p14:creationId xmlns:p14="http://schemas.microsoft.com/office/powerpoint/2010/main" val="2504674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1931328" y="1345864"/>
            <a:ext cx="8568952" cy="480432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u="sng" dirty="0">
              <a:latin typeface="Arial" charset="0"/>
            </a:endParaRPr>
          </a:p>
        </p:txBody>
      </p:sp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E46FBEA3-36FB-4A3B-B2B9-DBB8540A112B}" type="datetime1">
              <a:rPr lang="de-DE" smtClean="0">
                <a:solidFill>
                  <a:srgbClr val="001A4A"/>
                </a:solidFill>
              </a:rPr>
              <a:pPr/>
              <a:t>26.06.2015</a:t>
            </a:fld>
            <a:endParaRPr lang="de-DE" dirty="0">
              <a:solidFill>
                <a:srgbClr val="001A4A"/>
              </a:solidFill>
            </a:endParaRPr>
          </a:p>
        </p:txBody>
      </p:sp>
      <p:sp>
        <p:nvSpPr>
          <p:cNvPr id="5" name="Untertitel 4"/>
          <p:cNvSpPr>
            <a:spLocks noGrp="1"/>
          </p:cNvSpPr>
          <p:nvPr>
            <p:ph type="subTitle" idx="14"/>
          </p:nvPr>
        </p:nvSpPr>
        <p:spPr>
          <a:xfrm>
            <a:off x="1811720" y="1469365"/>
            <a:ext cx="8640000" cy="468000"/>
          </a:xfrm>
        </p:spPr>
        <p:txBody>
          <a:bodyPr/>
          <a:lstStyle/>
          <a:p>
            <a:pPr algn="ctr"/>
            <a:r>
              <a:rPr lang="de-DE" dirty="0" err="1" smtClean="0"/>
              <a:t>Javelin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 bwMode="auto">
          <a:xfrm>
            <a:off x="5093784" y="2256113"/>
            <a:ext cx="1512168" cy="432048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 err="1">
                <a:latin typeface="Arial" charset="0"/>
              </a:rPr>
              <a:t>WorkerThread</a:t>
            </a:r>
            <a:endParaRPr lang="de-DE" sz="1600" dirty="0">
              <a:latin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5303912" y="5423520"/>
            <a:ext cx="1440160" cy="410344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err="1"/>
              <a:t>TwinCat</a:t>
            </a:r>
            <a:r>
              <a:rPr lang="de-DE" dirty="0"/>
              <a:t> </a:t>
            </a:r>
            <a:r>
              <a:rPr lang="de-DE" dirty="0"/>
              <a:t>API</a:t>
            </a:r>
          </a:p>
        </p:txBody>
      </p:sp>
      <p:sp>
        <p:nvSpPr>
          <p:cNvPr id="79" name="Rechteck 78"/>
          <p:cNvSpPr/>
          <p:nvPr/>
        </p:nvSpPr>
        <p:spPr bwMode="auto">
          <a:xfrm>
            <a:off x="3081330" y="2080874"/>
            <a:ext cx="1430495" cy="3890927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>
              <a:latin typeface="Arial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2075410" y="2060866"/>
            <a:ext cx="636215" cy="3888414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Arial" charset="0"/>
              </a:rPr>
              <a:t>User</a:t>
            </a:r>
          </a:p>
        </p:txBody>
      </p:sp>
      <p:sp>
        <p:nvSpPr>
          <p:cNvPr id="19" name="Rechteck 18"/>
          <p:cNvSpPr/>
          <p:nvPr/>
        </p:nvSpPr>
        <p:spPr bwMode="auto">
          <a:xfrm>
            <a:off x="7248128" y="2256113"/>
            <a:ext cx="1512168" cy="432048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 err="1">
                <a:latin typeface="Arial" charset="0"/>
              </a:rPr>
              <a:t>DoWork</a:t>
            </a:r>
            <a:r>
              <a:rPr lang="de-DE" sz="1600" dirty="0">
                <a:latin typeface="Arial" charset="0"/>
              </a:rPr>
              <a:t>()</a:t>
            </a:r>
          </a:p>
        </p:txBody>
      </p:sp>
      <p:sp>
        <p:nvSpPr>
          <p:cNvPr id="13" name="Flussdiagramm: Prozess 12"/>
          <p:cNvSpPr/>
          <p:nvPr/>
        </p:nvSpPr>
        <p:spPr bwMode="auto">
          <a:xfrm>
            <a:off x="3080983" y="2083969"/>
            <a:ext cx="1430495" cy="432048"/>
          </a:xfrm>
          <a:prstGeom prst="flowChartProcess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Arial" charset="0"/>
              </a:rPr>
              <a:t>GUI</a:t>
            </a:r>
          </a:p>
        </p:txBody>
      </p:sp>
      <p:sp>
        <p:nvSpPr>
          <p:cNvPr id="14" name="Flussdiagramm: Prozess 13"/>
          <p:cNvSpPr/>
          <p:nvPr/>
        </p:nvSpPr>
        <p:spPr bwMode="auto">
          <a:xfrm>
            <a:off x="3215680" y="2852936"/>
            <a:ext cx="1152128" cy="333708"/>
          </a:xfrm>
          <a:prstGeom prst="flowChartProcess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Arial" charset="0"/>
              </a:rPr>
              <a:t>Start</a:t>
            </a:r>
          </a:p>
        </p:txBody>
      </p:sp>
      <p:sp>
        <p:nvSpPr>
          <p:cNvPr id="26" name="Flussdiagramm: Prozess 25"/>
          <p:cNvSpPr/>
          <p:nvPr/>
        </p:nvSpPr>
        <p:spPr bwMode="auto">
          <a:xfrm>
            <a:off x="3205456" y="3902319"/>
            <a:ext cx="1162352" cy="333708"/>
          </a:xfrm>
          <a:prstGeom prst="flowChartProcess">
            <a:avLst/>
          </a:prstGeom>
          <a:solidFill>
            <a:schemeClr val="bg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Arial" charset="0"/>
              </a:rPr>
              <a:t>Connect</a:t>
            </a:r>
          </a:p>
        </p:txBody>
      </p:sp>
      <p:cxnSp>
        <p:nvCxnSpPr>
          <p:cNvPr id="27" name="Gewinkelte Verbindung 26"/>
          <p:cNvCxnSpPr>
            <a:stCxn id="14" idx="3"/>
            <a:endCxn id="8" idx="1"/>
          </p:cNvCxnSpPr>
          <p:nvPr/>
        </p:nvCxnSpPr>
        <p:spPr bwMode="auto">
          <a:xfrm flipV="1">
            <a:off x="4367808" y="2472138"/>
            <a:ext cx="725976" cy="547653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3" name="Gewinkelte Verbindung 32"/>
          <p:cNvCxnSpPr>
            <a:stCxn id="8" idx="3"/>
            <a:endCxn id="19" idx="1"/>
          </p:cNvCxnSpPr>
          <p:nvPr/>
        </p:nvCxnSpPr>
        <p:spPr bwMode="auto">
          <a:xfrm>
            <a:off x="6605952" y="2472137"/>
            <a:ext cx="642176" cy="12700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195018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6FZI1lHUGcaZ1o37o3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SjZLlY0aEhe715ehK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vtEFGSGU2TAEQiDSRm7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</Words>
  <Application>Microsoft Office PowerPoint</Application>
  <PresentationFormat>Breitbild</PresentationFormat>
  <Paragraphs>26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Aufbau eines Treibers</vt:lpstr>
      <vt:lpstr>Logik im Treiber</vt:lpstr>
      <vt:lpstr>Bestandsaufnahme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fbau eines Treibers</dc:title>
  <dc:creator>Microsoft-Konto</dc:creator>
  <cp:lastModifiedBy>Microsoft-Konto</cp:lastModifiedBy>
  <cp:revision>9</cp:revision>
  <dcterms:created xsi:type="dcterms:W3CDTF">2015-06-26T16:59:54Z</dcterms:created>
  <dcterms:modified xsi:type="dcterms:W3CDTF">2015-06-26T17:59:00Z</dcterms:modified>
</cp:coreProperties>
</file>